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9706"/>
    <a:srgbClr val="F55F0B"/>
    <a:srgbClr val="F7B309"/>
    <a:srgbClr val="090DB7"/>
    <a:srgbClr val="18481D"/>
    <a:srgbClr val="0099CC"/>
    <a:srgbClr val="23669D"/>
    <a:srgbClr val="CCECFF"/>
    <a:srgbClr val="D7EDF4"/>
    <a:srgbClr val="00B5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8A107856-5554-42FB-B03E-39F5DBC370BA}" styleName="Средний стиль 4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FABFCF23-3B69-468F-B69F-88F6DE6A72F2}" styleName="Средний стиль 1 -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74C1A8A3-306A-4EB7-A6B1-4F7E0EB9C5D6}" styleName="Средний стиль 3 - акцент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DCAF9ED-07DC-4A11-8D7F-57B35C25682E}" styleName="Средний стиль 1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A488322-F2BA-4B5B-9748-0D474271808F}" styleName="Средний стиль 3 - 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E25E649-3F16-4E02-A733-19D2CDBF48F0}" styleName="Средний стиль 3 - акцент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Светлый стиль 1 -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14" autoAdjust="0"/>
    <p:restoredTop sz="99754" autoAdjust="0"/>
  </p:normalViewPr>
  <p:slideViewPr>
    <p:cSldViewPr snapToGrid="0">
      <p:cViewPr varScale="1">
        <p:scale>
          <a:sx n="109" d="100"/>
          <a:sy n="109" d="100"/>
        </p:scale>
        <p:origin x="762" y="96"/>
      </p:cViewPr>
      <p:guideLst>
        <p:guide orient="horz" pos="4028"/>
        <p:guide orient="horz" pos="2102"/>
        <p:guide pos="3207"/>
      </p:guideLst>
    </p:cSldViewPr>
  </p:slideViewPr>
  <p:outlineViewPr>
    <p:cViewPr>
      <p:scale>
        <a:sx n="33" d="100"/>
        <a:sy n="33" d="100"/>
      </p:scale>
      <p:origin x="18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xK.04qETE2UHBnEjQVcN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xK.04qETE2UHBnEjQVc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RB8.lYDeEWTPepbkWFXe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xK.04qETE2UHBnEjQVcN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xK.04qETE2UHBnEjQVcN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xK.04qETE2UHBnEjQVcN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RESIZE" val="Yes"/>
  <p:tag name="LLEFT" val=" 210.125"/>
  <p:tag name="LTOP" val=" 469.8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611</TotalTime>
  <Words>397</Words>
  <Application>Microsoft Office PowerPoint</Application>
  <PresentationFormat>Лист A4 (210x297 мм)</PresentationFormat>
  <Paragraphs>109</Paragraphs>
  <Slides>6</Slides>
  <Notes>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13" baseType="lpstr">
      <vt:lpstr>ＭＳ Ｐゴシック</vt:lpstr>
      <vt:lpstr>Arial</vt:lpstr>
      <vt:lpstr>Arial Narrow</vt:lpstr>
      <vt:lpstr>Calibri</vt:lpstr>
      <vt:lpstr>Times New Roman</vt:lpstr>
      <vt:lpstr>Wingdings</vt:lpstr>
      <vt:lpstr>5_Universal Template_RU</vt:lpstr>
      <vt:lpstr>Московский областной фонд развития микрофинансирования</vt:lpstr>
      <vt:lpstr>Московский областной фонд развития микрофинансирования</vt:lpstr>
      <vt:lpstr>Московский областной фонд развития микрофинансирования</vt:lpstr>
      <vt:lpstr>Московский областной фонд развития микрофинансирования</vt:lpstr>
      <vt:lpstr>Московский областной фонд развития микрофинансирования</vt:lpstr>
      <vt:lpstr>Московский областной фонд развития микрофинансирования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Поведская Нина;А. Большухин</dc:creator>
  <cp:lastModifiedBy>Садофьева Н.И.</cp:lastModifiedBy>
  <cp:revision>533</cp:revision>
  <cp:lastPrinted>2016-09-12T09:09:02Z</cp:lastPrinted>
  <dcterms:created xsi:type="dcterms:W3CDTF">2014-02-04T07:17:20Z</dcterms:created>
  <dcterms:modified xsi:type="dcterms:W3CDTF">2017-07-05T04:40:39Z</dcterms:modified>
</cp:coreProperties>
</file>